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4</c:v>
                </c:pt>
                <c:pt idx="29">
                  <c:v>12</c:v>
                </c:pt>
                <c:pt idx="30">
                  <c:v>13</c:v>
                </c:pt>
                <c:pt idx="31">
                  <c:v>6</c:v>
                </c:pt>
                <c:pt idx="32">
                  <c:v>5</c:v>
                </c:pt>
                <c:pt idx="33">
                  <c:v>6</c:v>
                </c:pt>
                <c:pt idx="34">
                  <c:v>10</c:v>
                </c:pt>
                <c:pt idx="35">
                  <c:v>10</c:v>
                </c:pt>
                <c:pt idx="36">
                  <c:v>11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6</c:v>
                </c:pt>
                <c:pt idx="85">
                  <c:v>18</c:v>
                </c:pt>
                <c:pt idx="86">
                  <c:v>15</c:v>
                </c:pt>
                <c:pt idx="87">
                  <c:v>13</c:v>
                </c:pt>
                <c:pt idx="88">
                  <c:v>11</c:v>
                </c:pt>
                <c:pt idx="89">
                  <c:v>9</c:v>
                </c:pt>
                <c:pt idx="90">
                  <c:v>10</c:v>
                </c:pt>
                <c:pt idx="91">
                  <c:v>11</c:v>
                </c:pt>
                <c:pt idx="92">
                  <c:v>12</c:v>
                </c:pt>
                <c:pt idx="93">
                  <c:v>13</c:v>
                </c:pt>
                <c:pt idx="94">
                  <c:v>18</c:v>
                </c:pt>
                <c:pt idx="9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3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2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7</c:v>
                </c:pt>
                <c:pt idx="60">
                  <c:v>119</c:v>
                </c:pt>
                <c:pt idx="61">
                  <c:v>120</c:v>
                </c:pt>
                <c:pt idx="62">
                  <c:v>120</c:v>
                </c:pt>
                <c:pt idx="63">
                  <c:v>123</c:v>
                </c:pt>
                <c:pt idx="64">
                  <c:v>124</c:v>
                </c:pt>
                <c:pt idx="65">
                  <c:v>124</c:v>
                </c:pt>
                <c:pt idx="66">
                  <c:v>127</c:v>
                </c:pt>
                <c:pt idx="67">
                  <c:v>129</c:v>
                </c:pt>
                <c:pt idx="68">
                  <c:v>132</c:v>
                </c:pt>
                <c:pt idx="69">
                  <c:v>134</c:v>
                </c:pt>
                <c:pt idx="70">
                  <c:v>137</c:v>
                </c:pt>
                <c:pt idx="71">
                  <c:v>140</c:v>
                </c:pt>
                <c:pt idx="72">
                  <c:v>142</c:v>
                </c:pt>
                <c:pt idx="73">
                  <c:v>142</c:v>
                </c:pt>
                <c:pt idx="74">
                  <c:v>144</c:v>
                </c:pt>
                <c:pt idx="75">
                  <c:v>145</c:v>
                </c:pt>
                <c:pt idx="76">
                  <c:v>148</c:v>
                </c:pt>
                <c:pt idx="77">
                  <c:v>152</c:v>
                </c:pt>
                <c:pt idx="78">
                  <c:v>154</c:v>
                </c:pt>
                <c:pt idx="79">
                  <c:v>158</c:v>
                </c:pt>
                <c:pt idx="80">
                  <c:v>162</c:v>
                </c:pt>
                <c:pt idx="81">
                  <c:v>163</c:v>
                </c:pt>
                <c:pt idx="82">
                  <c:v>164</c:v>
                </c:pt>
                <c:pt idx="83">
                  <c:v>166</c:v>
                </c:pt>
                <c:pt idx="84">
                  <c:v>168</c:v>
                </c:pt>
                <c:pt idx="85">
                  <c:v>170</c:v>
                </c:pt>
                <c:pt idx="86">
                  <c:v>171</c:v>
                </c:pt>
                <c:pt idx="87">
                  <c:v>174</c:v>
                </c:pt>
                <c:pt idx="88">
                  <c:v>175</c:v>
                </c:pt>
                <c:pt idx="89">
                  <c:v>175</c:v>
                </c:pt>
                <c:pt idx="90">
                  <c:v>175</c:v>
                </c:pt>
                <c:pt idx="91">
                  <c:v>177</c:v>
                </c:pt>
                <c:pt idx="92">
                  <c:v>180</c:v>
                </c:pt>
                <c:pt idx="93">
                  <c:v>181</c:v>
                </c:pt>
                <c:pt idx="94">
                  <c:v>185</c:v>
                </c:pt>
                <c:pt idx="95">
                  <c:v>1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23">
                  <c:v>1</c:v>
                </c:pt>
                <c:pt idx="24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71">
                  <c:v>1</c:v>
                </c:pt>
                <c:pt idx="75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48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5">
                  <c:v>3</c:v>
                </c:pt>
                <c:pt idx="86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77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9.xml"/><Relationship Id="rId4" Type="http://schemas.openxmlformats.org/officeDocument/2006/relationships/tags" Target="../tags/tag60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6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10" Type="http://schemas.openxmlformats.org/officeDocument/2006/relationships/chart" Target="../charts/chart11.xml"/><Relationship Id="rId4" Type="http://schemas.openxmlformats.org/officeDocument/2006/relationships/tags" Target="../tags/tag73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10" Type="http://schemas.openxmlformats.org/officeDocument/2006/relationships/chart" Target="../charts/chart12.xml"/><Relationship Id="rId4" Type="http://schemas.openxmlformats.org/officeDocument/2006/relationships/tags" Target="../tags/tag80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chart" Target="../charts/chart13.xml"/><Relationship Id="rId4" Type="http://schemas.openxmlformats.org/officeDocument/2006/relationships/tags" Target="../tags/tag87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10" Type="http://schemas.openxmlformats.org/officeDocument/2006/relationships/chart" Target="../charts/chart14.xml"/><Relationship Id="rId4" Type="http://schemas.openxmlformats.org/officeDocument/2006/relationships/tags" Target="../tags/tag94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10" Type="http://schemas.openxmlformats.org/officeDocument/2006/relationships/chart" Target="../charts/chart15.xml"/><Relationship Id="rId4" Type="http://schemas.openxmlformats.org/officeDocument/2006/relationships/tags" Target="../tags/tag101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108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13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19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34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chart" Target="../charts/chart2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4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25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chart" Target="../charts/chart26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chart" Target="../charts/chart27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chart" Target="../charts/chart28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chart" Target="../charts/chart29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chart" Target="../charts/chart30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chart" Target="../charts/chart3.xml"/><Relationship Id="rId5" Type="http://schemas.openxmlformats.org/officeDocument/2006/relationships/tags" Target="../tags/tag19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chart" Target="../charts/chart4.xml"/><Relationship Id="rId4" Type="http://schemas.openxmlformats.org/officeDocument/2006/relationships/tags" Target="../tags/tag26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chart" Target="../charts/chart6.xml"/><Relationship Id="rId4" Type="http://schemas.openxmlformats.org/officeDocument/2006/relationships/tags" Target="../tags/tag39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chart" Target="../charts/chart7.xml"/><Relationship Id="rId4" Type="http://schemas.openxmlformats.org/officeDocument/2006/relationships/tags" Target="../tags/tag46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chart" Target="../charts/chart8.xml"/><Relationship Id="rId4" Type="http://schemas.openxmlformats.org/officeDocument/2006/relationships/tags" Target="../tags/tag53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: léto 2021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49086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6D3C63-0E27-4A6A-879B-19BB768654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62449335"/>
              </p:ext>
            </p:extLst>
          </p:nvPr>
        </p:nvGraphicFramePr>
        <p:xfrm>
          <a:off x="2622523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E806D52-F766-466A-A810-E6CF17D373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2B06E06-70A1-4B93-936E-86CA22F2063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923E76-E5A9-45D8-9BB6-FFCE5DF42E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6069BDA-1378-4928-8B49-C05CF781D4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165947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48162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BC825D-29F4-4F8A-8519-7E702005C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207187"/>
              </p:ext>
            </p:extLst>
          </p:nvPr>
        </p:nvGraphicFramePr>
        <p:xfrm>
          <a:off x="2073884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819440" y="322463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900038" y="368629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02640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07778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09C3001B-A18F-45FD-A9D6-51CC883DBD3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60240406"/>
              </p:ext>
            </p:extLst>
          </p:nvPr>
        </p:nvGraphicFramePr>
        <p:xfrm>
          <a:off x="1852961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FBC5B694-4EAE-4001-BC57-1904B023C3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B539091F-BAFC-47D8-96E8-715313940E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9C744F4A-BB16-4D1C-AA7D-423079380B3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8776F24-5BF6-4BFB-843A-D6DFAEE505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7660595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6400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3565B37-2E6F-45A1-BF8B-FEE50380A20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6647081"/>
              </p:ext>
            </p:extLst>
          </p:nvPr>
        </p:nvGraphicFramePr>
        <p:xfrm>
          <a:off x="230664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D93E988-E45A-43A5-ADC5-CC93AFD054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F617EFE-4367-4030-961F-32EF3525538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F8F1566-08AC-42B0-A669-70174A3EFD0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9FEAAE31-28ED-49FC-B1D4-DA3AB4DE970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3500865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986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128CB7-48AC-4392-9EFA-1800165DAB6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314381"/>
              </p:ext>
            </p:extLst>
          </p:nvPr>
        </p:nvGraphicFramePr>
        <p:xfrm>
          <a:off x="2065572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76743B08-494F-4A01-9D20-0A821EA3F29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55C46AB-BD52-4052-8BC0-A8D7E0FCAF8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8B9429F-8EE7-4155-836F-3A59DAD96C4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3C5A6AD-A606-407C-9EFA-8FA0E35EA6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0499743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360230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2AC8C60-1753-494B-8FAE-AF75E230557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13815783"/>
              </p:ext>
            </p:extLst>
          </p:nvPr>
        </p:nvGraphicFramePr>
        <p:xfrm>
          <a:off x="16748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31CA9BC1-C898-4F46-B227-2018AADFAE6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8DD85244-F2F8-4E62-A4FA-5A0983D2054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6FE4067-06CD-4115-926E-17D5E19252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242BFD8-567D-4846-B363-F8FAECF644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232564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97096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C157425-86A6-4B6A-9331-4CF1668B88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37974899"/>
              </p:ext>
            </p:extLst>
          </p:nvPr>
        </p:nvGraphicFramePr>
        <p:xfrm>
          <a:off x="25892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</a:t>
                      </a:r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: 19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CF8D6D6-BF2F-428B-B2EE-C5494D9DDA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ED5180-E8BD-4D2B-BCBC-0A5FBA22277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FF567FE-6598-47DF-9CF8-52DCF46BDFB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A706769-324C-4B1C-8EDB-553F0E9C61C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945557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: léto 2021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1213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25935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912582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C878F213-5D21-4701-A55D-E6829F4BC4E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4957107"/>
              </p:ext>
            </p:extLst>
          </p:nvPr>
        </p:nvGraphicFramePr>
        <p:xfrm>
          <a:off x="2098826" y="1003173"/>
          <a:ext cx="765008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5008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57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206368" y="3342751"/>
            <a:ext cx="1888984" cy="738664"/>
            <a:chOff x="10270650" y="3526984"/>
            <a:chExt cx="1888984" cy="738664"/>
          </a:xfrm>
        </p:grpSpPr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5608931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45961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146823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550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1712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8240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61986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55117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5164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0566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369607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938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4F7431F-D009-4A6F-9F35-43C9EEB6C98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2147720"/>
              </p:ext>
            </p:extLst>
          </p:nvPr>
        </p:nvGraphicFramePr>
        <p:xfrm>
          <a:off x="1766316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3707" y="288889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008B823-A361-4831-9CB5-F8CFB5FDF28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304305" y="3350562"/>
            <a:ext cx="1888984" cy="738664"/>
            <a:chOff x="10270650" y="3526984"/>
            <a:chExt cx="1888984" cy="738664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67BABA07-65A1-436D-9732-EF65B021C6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6CA75FD4-2199-47E2-94D4-AB79AFAF34B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9481912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1294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20254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255638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761945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4B08EB3-E8D4-447D-8759-4AA20C8380C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1618260"/>
              </p:ext>
            </p:extLst>
          </p:nvPr>
        </p:nvGraphicFramePr>
        <p:xfrm>
          <a:off x="2173638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9680166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57047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16534-AFDA-4250-AADA-3EF7CDFC004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24862870"/>
              </p:ext>
            </p:extLst>
          </p:nvPr>
        </p:nvGraphicFramePr>
        <p:xfrm>
          <a:off x="186607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BEF6641-F353-4F7F-8EC5-D771E0847D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DDFBF04-3E67-4550-BEFF-332785F3B4E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088352F-A016-4FBA-AD73-69DF1046574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1B0E5236-8560-4581-A686-7FB45454770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9182439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17531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0719826-4D66-4B50-9D39-55C84D9A8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200101"/>
              </p:ext>
            </p:extLst>
          </p:nvPr>
        </p:nvGraphicFramePr>
        <p:xfrm>
          <a:off x="1822134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9EC3419F-3CAA-41F1-AB03-902F81CC8FF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55D000F-8AF3-44BE-AA59-8998DAFAF76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B980D2-FD8E-4D45-8F13-B8462B5D84E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54713AB-76CF-45D8-B683-E2A4EDD952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6704902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224599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D2119C31-6FBC-4017-8125-C38DFA1BACA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33202510"/>
              </p:ext>
            </p:extLst>
          </p:nvPr>
        </p:nvGraphicFramePr>
        <p:xfrm>
          <a:off x="216532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01DEDF3D-F376-4753-87C2-534EFA8E5C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31C920BD-BE3A-4264-B26F-FCA28EB70D7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A8E4F60-D1CF-47FC-BE76-DDCD921023D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731946D4-4F23-4C96-852D-4B865939DEB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3681418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312443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EC9ABBB-F8C3-4DA7-95A0-815930E2004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15492950"/>
              </p:ext>
            </p:extLst>
          </p:nvPr>
        </p:nvGraphicFramePr>
        <p:xfrm>
          <a:off x="1776071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D7428D86-FC28-4BEF-A7AE-C7DD7FECC8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09AC08D-3B47-4E42-B404-9280C2EBB13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CB14CF1-4499-4F06-B5B1-2D67709508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F872B93-CA40-41CD-8D2C-FD6C409B16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2419818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71646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7A93822-FD8D-4C16-95A6-992321D2F52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7992668"/>
              </p:ext>
            </p:extLst>
          </p:nvPr>
        </p:nvGraphicFramePr>
        <p:xfrm>
          <a:off x="1917039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AB9C499-6AEC-4E7E-BA11-6E2833F4AA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88ACD8A-EA02-4D32-888D-C6563E22272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479BA8-6F02-4839-960A-34B10F542B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4" name="TextovéPole 28">
              <a:extLst>
                <a:ext uri="{FF2B5EF4-FFF2-40B4-BE49-F238E27FC236}">
                  <a16:creationId xmlns:a16="http://schemas.microsoft.com/office/drawing/2014/main" id="{E1E22BC0-2A61-4951-8186-99BAA276C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153399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4</TotalTime>
  <Words>1877</Words>
  <Application>Microsoft Office PowerPoint</Application>
  <PresentationFormat>Širokoúhlá obrazovka</PresentationFormat>
  <Paragraphs>67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57</cp:revision>
  <dcterms:created xsi:type="dcterms:W3CDTF">2021-03-07T17:04:34Z</dcterms:created>
  <dcterms:modified xsi:type="dcterms:W3CDTF">2021-09-07T02:07:10Z</dcterms:modified>
</cp:coreProperties>
</file>